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4.xml" ContentType="application/vnd.openxmlformats-officedocument.presentationml.notesSlide+xml"/>
  <Override PartName="/ppt/tags/tag128.xml" ContentType="application/vnd.openxmlformats-officedocument.presentationml.tags+xml"/>
  <Override PartName="/ppt/notesSlides/notesSlide5.xml" ContentType="application/vnd.openxmlformats-officedocument.presentationml.notesSlide+xml"/>
  <Override PartName="/ppt/tags/tag129.xml" ContentType="application/vnd.openxmlformats-officedocument.presentationml.tags+xml"/>
  <Override PartName="/ppt/notesSlides/notesSlide6.xml" ContentType="application/vnd.openxmlformats-officedocument.presentationml.notesSlide+xml"/>
  <Override PartName="/ppt/tags/tag130.xml" ContentType="application/vnd.openxmlformats-officedocument.presentationml.tags+xml"/>
  <Override PartName="/ppt/notesSlides/notesSlide7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5"/>
  </p:notesMasterIdLst>
  <p:handoutMasterIdLst>
    <p:handoutMasterId r:id="rId16"/>
  </p:handoutMasterIdLst>
  <p:sldIdLst>
    <p:sldId id="262" r:id="rId6"/>
    <p:sldId id="321" r:id="rId7"/>
    <p:sldId id="305" r:id="rId8"/>
    <p:sldId id="315" r:id="rId9"/>
    <p:sldId id="323" r:id="rId10"/>
    <p:sldId id="316" r:id="rId11"/>
    <p:sldId id="326" r:id="rId12"/>
    <p:sldId id="324" r:id="rId13"/>
    <p:sldId id="320" r:id="rId14"/>
  </p:sldIdLst>
  <p:sldSz cx="12192000" cy="6858000"/>
  <p:notesSz cx="6858000" cy="9144000"/>
  <p:custDataLst>
    <p:tags r:id="rId17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14" Type="http://schemas.openxmlformats.org/officeDocument/2006/relationships/slide" Target="slides/slide9.xml"/><Relationship Id="rId9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26.04.2021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6.04.2021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5428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342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4797512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Alain.Lunghi@fr.ch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31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pPr eaLnBrk="1" hangingPunct="1"/>
            <a:r>
              <a:rPr lang="fr-CH" sz="2000" b="0" dirty="0"/>
              <a:t>Demande de financement du projet collaboratif</a:t>
            </a:r>
            <a:br>
              <a:rPr lang="fr-CH" dirty="0"/>
            </a:br>
            <a:r>
              <a:rPr lang="fr-CH" dirty="0"/>
              <a:t>Titre du projet</a:t>
            </a:r>
            <a:br>
              <a:rPr lang="fr-CH" dirty="0"/>
            </a:br>
            <a:r>
              <a:rPr lang="fr-CH" sz="2000" b="0" dirty="0"/>
              <a:t>Acronyme : 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289925" cy="1231106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Séance CAPE du </a:t>
            </a:r>
            <a:r>
              <a:rPr lang="fr-CH" sz="2000" dirty="0">
                <a:highlight>
                  <a:srgbClr val="FFFF00"/>
                </a:highlight>
              </a:rPr>
              <a:t>jj mois année</a:t>
            </a: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r>
              <a:rPr lang="fr-CH" sz="2000" dirty="0"/>
              <a:t>Porteurs de la demande : 	</a:t>
            </a:r>
            <a:r>
              <a:rPr lang="fr-CH" sz="2000" dirty="0">
                <a:highlight>
                  <a:srgbClr val="FFFF00"/>
                </a:highlight>
              </a:rPr>
              <a:t>Prénom Nom, fonction, Haute école / Institut</a:t>
            </a:r>
            <a:br>
              <a:rPr lang="fr-CH" sz="2000" dirty="0"/>
            </a:br>
            <a:r>
              <a:rPr lang="fr-CH" sz="2000" dirty="0"/>
              <a:t>							</a:t>
            </a:r>
            <a:r>
              <a:rPr lang="fr-CH" sz="2000" dirty="0">
                <a:highlight>
                  <a:srgbClr val="FFFF00"/>
                </a:highlight>
              </a:rPr>
              <a:t>Prénom Nom, fonction, Entrepris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au porteur de projet 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diapo à supprimer avant présentation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85" y="1844824"/>
            <a:ext cx="10989733" cy="2923877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Vous disposez de </a:t>
            </a:r>
            <a:r>
              <a:rPr lang="fr-CH" sz="1600" b="1" dirty="0">
                <a:solidFill>
                  <a:srgbClr val="3673B9"/>
                </a:solidFill>
              </a:rPr>
              <a:t>10 minutes de présentation </a:t>
            </a:r>
            <a:r>
              <a:rPr lang="fr-CH" sz="1600" dirty="0">
                <a:solidFill>
                  <a:srgbClr val="3673B9"/>
                </a:solidFill>
              </a:rPr>
              <a:t>et 10 minutes de Questions &amp; Réponses (pas 1 minute de plus!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Le modèle de présentation est imposé pour assurer une meilleure gestion du temps et uniformiser l’information présenté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l est recommandé d’avoir la présence du porteur de projet ET d’un partenaire industriel pour la présent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N’oubliez pas que l’audience de la CAPE n’est pas forcément du domaine technique, il est important de </a:t>
            </a:r>
            <a:r>
              <a:rPr lang="fr-CH" sz="1600" b="1" dirty="0">
                <a:solidFill>
                  <a:srgbClr val="3673B9"/>
                </a:solidFill>
              </a:rPr>
              <a:t>simplifier l’information technique et de bien présenter le contexte du projet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NNOSQUARE se tient à votre disposition pour vous soutenir dans la préparation de votre présent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La présentation sous forme PDF est à envoyer au plus tard la vielle de la CAPE à Monsieur Alain Lunghi de la PromFR (</a:t>
            </a:r>
            <a:r>
              <a:rPr lang="fr-CH" sz="1600" dirty="0">
                <a:solidFill>
                  <a:srgbClr val="3673B9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ain.Lunghi@fr.ch</a:t>
            </a:r>
            <a:r>
              <a:rPr lang="fr-CH" sz="1600" dirty="0">
                <a:solidFill>
                  <a:srgbClr val="3673B9"/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H" sz="1600" dirty="0"/>
          </a:p>
        </p:txBody>
      </p:sp>
    </p:spTree>
    <p:extLst>
      <p:ext uri="{BB962C8B-B14F-4D97-AF65-F5344CB8AC3E}">
        <p14:creationId xmlns:p14="http://schemas.microsoft.com/office/powerpoint/2010/main" val="1338897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/>
              <a:t>Sommai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/>
              <a:t>Contexte </a:t>
            </a:r>
          </a:p>
          <a:p>
            <a:r>
              <a:rPr lang="fr-CH" sz="2400" dirty="0"/>
              <a:t>Présentation du projet</a:t>
            </a:r>
          </a:p>
          <a:p>
            <a:r>
              <a:rPr lang="fr-CH" sz="2400" dirty="0"/>
              <a:t>Impacts et valoris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Context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56212"/>
            <a:ext cx="11391056" cy="30777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Représenter le contexte avec 2-3 points clés, image, photographie, graphe, article de presse, etc.</a:t>
            </a:r>
            <a:endParaRPr lang="fr-CH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3796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Objectifs du proj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916832"/>
            <a:ext cx="8242300" cy="1077218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Objectif principal du projet</a:t>
            </a:r>
          </a:p>
          <a:p>
            <a:r>
              <a:rPr lang="fr-CH" dirty="0">
                <a:solidFill>
                  <a:srgbClr val="00A0DB"/>
                </a:solidFill>
              </a:rPr>
              <a:t>Illustration / photographie illustrant le projet</a:t>
            </a:r>
          </a:p>
          <a:p>
            <a:endParaRPr lang="fr-CH" dirty="0"/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2FA4D288-986E-4756-81E1-26B1E513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20566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Démarche et livrable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69249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Démarche présentée sous forme de schéma </a:t>
            </a:r>
          </a:p>
          <a:p>
            <a:r>
              <a:rPr lang="fr-CH" dirty="0">
                <a:solidFill>
                  <a:srgbClr val="00A0DB"/>
                </a:solidFill>
              </a:rPr>
              <a:t>3-5 livrables clés du projet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artenaires et budg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69249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Partenaires du projet (logos) </a:t>
            </a:r>
          </a:p>
          <a:p>
            <a:r>
              <a:rPr lang="fr-CH" dirty="0">
                <a:solidFill>
                  <a:srgbClr val="00A0DB"/>
                </a:solidFill>
              </a:rPr>
              <a:t>Budget 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  <p:pic>
        <p:nvPicPr>
          <p:cNvPr id="6" name="Image 24">
            <a:extLst>
              <a:ext uri="{FF2B5EF4-FFF2-40B4-BE49-F238E27FC236}">
                <a16:creationId xmlns:a16="http://schemas.microsoft.com/office/drawing/2014/main" id="{6493C22C-66CE-4A21-8A47-8629286703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60" t="2794" r="3249"/>
          <a:stretch/>
        </p:blipFill>
        <p:spPr>
          <a:xfrm rot="10800000">
            <a:off x="7645311" y="1988840"/>
            <a:ext cx="3937759" cy="3816424"/>
          </a:xfrm>
          <a:prstGeom prst="rect">
            <a:avLst/>
          </a:prstGeom>
        </p:spPr>
      </p:pic>
      <p:sp>
        <p:nvSpPr>
          <p:cNvPr id="7" name="ZoneTexte 12">
            <a:extLst>
              <a:ext uri="{FF2B5EF4-FFF2-40B4-BE49-F238E27FC236}">
                <a16:creationId xmlns:a16="http://schemas.microsoft.com/office/drawing/2014/main" id="{C5BC4602-B91F-432E-A347-90A896422692}"/>
              </a:ext>
            </a:extLst>
          </p:cNvPr>
          <p:cNvSpPr txBox="1"/>
          <p:nvPr/>
        </p:nvSpPr>
        <p:spPr>
          <a:xfrm>
            <a:off x="8871186" y="4593910"/>
            <a:ext cx="24485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>
                <a:solidFill>
                  <a:srgbClr val="FFFFFF"/>
                </a:solidFill>
              </a:rPr>
              <a:t>Entreprises </a:t>
            </a:r>
          </a:p>
          <a:p>
            <a:r>
              <a:rPr lang="fr-CH" sz="1200" b="1" dirty="0">
                <a:solidFill>
                  <a:srgbClr val="FFFFFF"/>
                </a:solidFill>
              </a:rPr>
              <a:t>Prestations </a:t>
            </a:r>
          </a:p>
          <a:p>
            <a:r>
              <a:rPr lang="fr-CH" sz="1200" b="1" dirty="0">
                <a:solidFill>
                  <a:srgbClr val="FFFFFF"/>
                </a:solidFill>
              </a:rPr>
              <a:t>propres</a:t>
            </a:r>
          </a:p>
        </p:txBody>
      </p:sp>
      <p:sp>
        <p:nvSpPr>
          <p:cNvPr id="9" name="ZoneTexte 13">
            <a:extLst>
              <a:ext uri="{FF2B5EF4-FFF2-40B4-BE49-F238E27FC236}">
                <a16:creationId xmlns:a16="http://schemas.microsoft.com/office/drawing/2014/main" id="{4BFD490B-BFAF-4FD4-A058-706136E4D803}"/>
              </a:ext>
            </a:extLst>
          </p:cNvPr>
          <p:cNvSpPr txBox="1"/>
          <p:nvPr/>
        </p:nvSpPr>
        <p:spPr>
          <a:xfrm>
            <a:off x="9497783" y="3656065"/>
            <a:ext cx="24485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>
                <a:solidFill>
                  <a:srgbClr val="FFFFFF"/>
                </a:solidFill>
              </a:rPr>
              <a:t>Entreprises </a:t>
            </a:r>
          </a:p>
          <a:p>
            <a:r>
              <a:rPr lang="fr-CH" sz="1200" b="1" dirty="0">
                <a:solidFill>
                  <a:srgbClr val="FFFFFF"/>
                </a:solidFill>
              </a:rPr>
              <a:t>Cash</a:t>
            </a:r>
          </a:p>
        </p:txBody>
      </p:sp>
      <p:sp>
        <p:nvSpPr>
          <p:cNvPr id="10" name="ZoneTexte 28">
            <a:extLst>
              <a:ext uri="{FF2B5EF4-FFF2-40B4-BE49-F238E27FC236}">
                <a16:creationId xmlns:a16="http://schemas.microsoft.com/office/drawing/2014/main" id="{AB1F85B3-6543-4104-9BBF-1ABE4B3261DD}"/>
              </a:ext>
            </a:extLst>
          </p:cNvPr>
          <p:cNvSpPr txBox="1"/>
          <p:nvPr/>
        </p:nvSpPr>
        <p:spPr>
          <a:xfrm>
            <a:off x="7536160" y="3728073"/>
            <a:ext cx="2448534" cy="27699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CH" sz="1200" b="1" dirty="0">
                <a:latin typeface="Arial"/>
                <a:ea typeface="ＭＳ Ｐゴシック"/>
                <a:cs typeface="Arial"/>
              </a:rPr>
              <a:t>NPR</a:t>
            </a:r>
            <a:endParaRPr lang="fr-CH" sz="1200" b="1" dirty="0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1207DB4-9712-437B-A274-7F398F7732C9}"/>
              </a:ext>
            </a:extLst>
          </p:cNvPr>
          <p:cNvSpPr txBox="1"/>
          <p:nvPr/>
        </p:nvSpPr>
        <p:spPr>
          <a:xfrm>
            <a:off x="8943456" y="5110619"/>
            <a:ext cx="22748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600" b="1" dirty="0">
                <a:solidFill>
                  <a:schemeClr val="bg1"/>
                </a:solidFill>
              </a:rPr>
              <a:t> </a:t>
            </a:r>
            <a:r>
              <a:rPr lang="fr-CH" sz="1200" b="1" dirty="0">
                <a:solidFill>
                  <a:schemeClr val="bg1"/>
                </a:solidFill>
              </a:rPr>
              <a:t>xx </a:t>
            </a:r>
            <a:r>
              <a:rPr lang="fr-CH" sz="1200" b="1" dirty="0" err="1">
                <a:solidFill>
                  <a:schemeClr val="bg1"/>
                </a:solidFill>
              </a:rPr>
              <a:t>kCHF</a:t>
            </a:r>
            <a:endParaRPr lang="fr-CH" sz="1200" b="1" dirty="0">
              <a:solidFill>
                <a:schemeClr val="bg1"/>
              </a:solidFill>
            </a:endParaRPr>
          </a:p>
          <a:p>
            <a:r>
              <a:rPr lang="fr-CH" sz="1200" dirty="0">
                <a:solidFill>
                  <a:schemeClr val="bg1"/>
                </a:solidFill>
              </a:rPr>
              <a:t>Xx %</a:t>
            </a:r>
          </a:p>
        </p:txBody>
      </p:sp>
      <p:sp>
        <p:nvSpPr>
          <p:cNvPr id="12" name="ZoneTexte 10">
            <a:extLst>
              <a:ext uri="{FF2B5EF4-FFF2-40B4-BE49-F238E27FC236}">
                <a16:creationId xmlns:a16="http://schemas.microsoft.com/office/drawing/2014/main" id="{B3201546-0308-46E1-9A7F-E41157E406C3}"/>
              </a:ext>
            </a:extLst>
          </p:cNvPr>
          <p:cNvSpPr txBox="1"/>
          <p:nvPr/>
        </p:nvSpPr>
        <p:spPr>
          <a:xfrm>
            <a:off x="7645313" y="3921938"/>
            <a:ext cx="2274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/>
              <a:t> xx </a:t>
            </a:r>
            <a:r>
              <a:rPr lang="fr-CH" sz="1200" b="1" dirty="0" err="1"/>
              <a:t>kCHF</a:t>
            </a:r>
            <a:endParaRPr lang="fr-CH" sz="1200" b="1" dirty="0"/>
          </a:p>
          <a:p>
            <a:r>
              <a:rPr lang="fr-CH" sz="1200" dirty="0"/>
              <a:t>Xx %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6A3FB91-F485-4639-88A8-9F5AFE38AB31}"/>
              </a:ext>
            </a:extLst>
          </p:cNvPr>
          <p:cNvSpPr txBox="1"/>
          <p:nvPr/>
        </p:nvSpPr>
        <p:spPr>
          <a:xfrm>
            <a:off x="9618834" y="4019107"/>
            <a:ext cx="22748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1200" b="1" dirty="0">
                <a:solidFill>
                  <a:schemeClr val="bg1"/>
                </a:solidFill>
              </a:rPr>
              <a:t>Xx CHF</a:t>
            </a:r>
          </a:p>
          <a:p>
            <a:r>
              <a:rPr lang="fr-CH" sz="1200" dirty="0">
                <a:solidFill>
                  <a:schemeClr val="bg1"/>
                </a:solidFill>
              </a:rPr>
              <a:t>Xx %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BA18DEB5-A4C4-452E-B9C2-55635E153E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57595" y="2836465"/>
            <a:ext cx="1404125" cy="80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078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Impacts et valoris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30777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Pour les entreprises et le cant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375920" y="3573016"/>
            <a:ext cx="4847580" cy="1846659"/>
          </a:xfrm>
        </p:spPr>
        <p:txBody>
          <a:bodyPr/>
          <a:lstStyle/>
          <a:p>
            <a:r>
              <a:rPr lang="fr-CH" u="sng" dirty="0"/>
              <a:t>Personne de contact:</a:t>
            </a:r>
          </a:p>
          <a:p>
            <a:pPr marL="531812" lvl="3" indent="0">
              <a:buNone/>
            </a:pPr>
            <a:r>
              <a:rPr lang="fr-CH" dirty="0"/>
              <a:t>Prénom et nom du porteur de projet</a:t>
            </a:r>
          </a:p>
          <a:p>
            <a:pPr marL="531812" lvl="3" indent="0">
              <a:buNone/>
            </a:pPr>
            <a:r>
              <a:rPr lang="fr-CH" dirty="0"/>
              <a:t>Entité, fonction</a:t>
            </a:r>
          </a:p>
          <a:p>
            <a:pPr marL="531812" lvl="3" indent="0">
              <a:buNone/>
            </a:pPr>
            <a:r>
              <a:rPr lang="fr-CH" dirty="0"/>
              <a:t>Adresse courriel</a:t>
            </a:r>
          </a:p>
          <a:p>
            <a:pPr marL="531812" lvl="3" indent="0">
              <a:buNone/>
            </a:pPr>
            <a:r>
              <a:rPr lang="fr-CH" dirty="0"/>
              <a:t>Numéro de télépho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>
                <a:solidFill>
                  <a:schemeClr val="tx1"/>
                </a:solidFill>
              </a:rPr>
              <a:t>Merci de votre attention</a:t>
            </a:r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8EA5D2B7BA2A45B07D517F9E3CE4B9" ma:contentTypeVersion="9" ma:contentTypeDescription="Crée un document." ma:contentTypeScope="" ma:versionID="1520bbe66854f6736705b40bb992d71e">
  <xsd:schema xmlns:xsd="http://www.w3.org/2001/XMLSchema" xmlns:xs="http://www.w3.org/2001/XMLSchema" xmlns:p="http://schemas.microsoft.com/office/2006/metadata/properties" xmlns:ns2="ffa2d09e-b643-4683-bb52-6107ecc3d791" targetNamespace="http://schemas.microsoft.com/office/2006/metadata/properties" ma:root="true" ma:fieldsID="4a108e6f18f1f16f7a917fa3a457ac4f" ns2:_="">
    <xsd:import namespace="ffa2d09e-b643-4683-bb52-6107ecc3d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2d09e-b643-4683-bb52-6107ecc3d7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CF5D2B-3932-462E-9C09-F84599A3287B}"/>
</file>

<file path=customXml/itemProps2.xml><?xml version="1.0" encoding="utf-8"?>
<ds:datastoreItem xmlns:ds="http://schemas.openxmlformats.org/officeDocument/2006/customXml" ds:itemID="{B68D7E05-D642-4901-96CD-ED0C8C7F2378}"/>
</file>

<file path=customXml/itemProps3.xml><?xml version="1.0" encoding="utf-8"?>
<ds:datastoreItem xmlns:ds="http://schemas.openxmlformats.org/officeDocument/2006/customXml" ds:itemID="{7DFA5CB5-0811-4AD2-ACF3-E291AE16FDAE}"/>
</file>

<file path=customXml/itemProps4.xml><?xml version="1.0" encoding="utf-8"?>
<ds:datastoreItem xmlns:ds="http://schemas.openxmlformats.org/officeDocument/2006/customXml" ds:itemID="{7698BA07-F2F3-4DB2-B6FE-0900892E16AC}"/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79</Words>
  <Application>Microsoft Office PowerPoint</Application>
  <PresentationFormat>Grand écran</PresentationFormat>
  <Paragraphs>55</Paragraphs>
  <Slides>9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5" baseType="lpstr">
      <vt:lpstr>ＭＳ Ｐゴシック</vt:lpstr>
      <vt:lpstr>Arial</vt:lpstr>
      <vt:lpstr>Calibri</vt:lpstr>
      <vt:lpstr>Lucida Grande</vt:lpstr>
      <vt:lpstr>pp_etat_fribourg_en_bas</vt:lpstr>
      <vt:lpstr>think-cell Slide</vt:lpstr>
      <vt:lpstr>Demande de financement du projet collaboratif Titre du projet Acronyme :  —</vt:lpstr>
      <vt:lpstr>Information au porteur de projet  (diapo à supprimer avant présentation)</vt:lpstr>
      <vt:lpstr>Sommaire —</vt:lpstr>
      <vt:lpstr>Contexte —</vt:lpstr>
      <vt:lpstr>Objectifs du projet —</vt:lpstr>
      <vt:lpstr>Démarche et livrables —</vt:lpstr>
      <vt:lpstr>Partenaires et budget —</vt:lpstr>
      <vt:lpstr>Impacts et valoris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0</cp:revision>
  <cp:lastPrinted>2010-03-18T08:00:30Z</cp:lastPrinted>
  <dcterms:created xsi:type="dcterms:W3CDTF">2021-02-02T14:31:30Z</dcterms:created>
  <dcterms:modified xsi:type="dcterms:W3CDTF">2021-04-26T08:0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8EA5D2B7BA2A45B07D517F9E3CE4B9</vt:lpwstr>
  </property>
  <property fmtid="{D5CDD505-2E9C-101B-9397-08002B2CF9AE}" pid="3" name="_dlc_DocIdItemGuid">
    <vt:lpwstr>6d141227-be47-4b29-8817-f7d6453602ea</vt:lpwstr>
  </property>
</Properties>
</file>